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455" r:id="rId2"/>
    <p:sldId id="408" r:id="rId3"/>
    <p:sldId id="487" r:id="rId4"/>
    <p:sldId id="488" r:id="rId5"/>
    <p:sldId id="489" r:id="rId6"/>
    <p:sldId id="490" r:id="rId7"/>
    <p:sldId id="491" r:id="rId8"/>
    <p:sldId id="475" r:id="rId9"/>
    <p:sldId id="476" r:id="rId10"/>
    <p:sldId id="477" r:id="rId11"/>
    <p:sldId id="478" r:id="rId12"/>
    <p:sldId id="479" r:id="rId13"/>
    <p:sldId id="480" r:id="rId14"/>
    <p:sldId id="486" r:id="rId15"/>
    <p:sldId id="481" r:id="rId16"/>
    <p:sldId id="373" r:id="rId17"/>
    <p:sldId id="482" r:id="rId18"/>
    <p:sldId id="462" r:id="rId19"/>
    <p:sldId id="463" r:id="rId20"/>
    <p:sldId id="483" r:id="rId21"/>
    <p:sldId id="301" r:id="rId2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/>
  </p:cmAuthor>
  <p:cmAuthor id="2" name="Leilas" initials="L" lastIdx="11" clrIdx="1">
    <p:extLst/>
  </p:cmAuthor>
  <p:cmAuthor id="3" name="Admin" initials="AAA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D442"/>
    <a:srgbClr val="40A7E1"/>
    <a:srgbClr val="F5B144"/>
    <a:srgbClr val="F6DB7E"/>
    <a:srgbClr val="E9950D"/>
    <a:srgbClr val="4383DD"/>
    <a:srgbClr val="79BFD5"/>
    <a:srgbClr val="0073B8"/>
    <a:srgbClr val="D8EBF4"/>
    <a:srgbClr val="EFF5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444" autoAdjust="0"/>
    <p:restoredTop sz="99199" autoAdjust="0"/>
  </p:normalViewPr>
  <p:slideViewPr>
    <p:cSldViewPr snapToGrid="0">
      <p:cViewPr varScale="1">
        <p:scale>
          <a:sx n="69" d="100"/>
          <a:sy n="69" d="100"/>
        </p:scale>
        <p:origin x="-270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2.11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75620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7562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2.11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786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02.11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edu.skysmart.ru/" TargetMode="External"/><Relationship Id="rId7" Type="http://schemas.microsoft.com/office/2007/relationships/hdphoto" Target="../media/hdphoto5.wdp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9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16.png"/><Relationship Id="rId4" Type="http://schemas.openxmlformats.org/officeDocument/2006/relationships/hyperlink" Target="https://edu.skysmart.ru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7" Type="http://schemas.openxmlformats.org/officeDocument/2006/relationships/image" Target="../media/image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hyperlink" Target="https://edu.skysmart.ru/" TargetMode="External"/><Relationship Id="rId4" Type="http://schemas.openxmlformats.org/officeDocument/2006/relationships/image" Target="../media/image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16.png"/><Relationship Id="rId4" Type="http://schemas.openxmlformats.org/officeDocument/2006/relationships/hyperlink" Target="https://edu.skysmart.ru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edu.skysmart.ru/" TargetMode="External"/><Relationship Id="rId7" Type="http://schemas.openxmlformats.org/officeDocument/2006/relationships/image" Target="../media/image23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9.png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edu.skysmart.ru/" TargetMode="External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9.png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png"/><Relationship Id="rId4" Type="http://schemas.openxmlformats.org/officeDocument/2006/relationships/hyperlink" Target="https://media.prosv.ru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a.prosv.ru/" TargetMode="External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pn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hyperlink" Target="https://lecta.rosuchebnik.ru/" TargetMode="External"/><Relationship Id="rId7" Type="http://schemas.openxmlformats.org/officeDocument/2006/relationships/image" Target="../media/image30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uchitel.club/filolconf/" TargetMode="External"/><Relationship Id="rId3" Type="http://schemas.openxmlformats.org/officeDocument/2006/relationships/image" Target="../media/image4.emf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hyperlink" Target="https://uchitel.club/" TargetMode="External"/><Relationship Id="rId9" Type="http://schemas.openxmlformats.org/officeDocument/2006/relationships/hyperlink" Target="https://uchitel.club/pisaconf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parents.university/dialog/" TargetMode="External"/><Relationship Id="rId5" Type="http://schemas.microsoft.com/office/2007/relationships/hdphoto" Target="../media/hdphoto7.wdp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37.gif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1.xml"/><Relationship Id="rId9" Type="http://schemas.openxmlformats.org/officeDocument/2006/relationships/hyperlink" Target="mailto:EZubkova@prosv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hyperlink" Target="https://uchitel.club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6" Type="http://schemas.microsoft.com/office/2007/relationships/hdphoto" Target="../media/hdphoto2.wdp"/><Relationship Id="rId5" Type="http://schemas.openxmlformats.org/officeDocument/2006/relationships/image" Target="../media/image12.png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4" Type="http://schemas.microsoft.com/office/2007/relationships/hdphoto" Target="../media/hdphoto4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16.png"/><Relationship Id="rId4" Type="http://schemas.openxmlformats.org/officeDocument/2006/relationships/hyperlink" Target="https://edu.skysmart.ru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16.png"/><Relationship Id="rId4" Type="http://schemas.openxmlformats.org/officeDocument/2006/relationships/hyperlink" Target="https://edu.skysmart.ru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90223" y="4415666"/>
            <a:ext cx="11211557" cy="1255600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4533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нлайн </a:t>
            </a:r>
            <a:r>
              <a:rPr lang="ru-RU" sz="4533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сурсы</a:t>
            </a:r>
          </a:p>
          <a:p>
            <a:pPr algn="l">
              <a:spcBef>
                <a:spcPts val="0"/>
              </a:spcBef>
            </a:pPr>
            <a:r>
              <a:rPr lang="ru-RU" sz="4533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</a:t>
            </a:r>
            <a:r>
              <a:rPr lang="ru-RU" sz="4533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еподавания математики в </a:t>
            </a:r>
            <a:r>
              <a:rPr lang="ru-RU" sz="4533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школе</a:t>
            </a:r>
            <a:endParaRPr lang="ru-RU" sz="32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3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6" y="869646"/>
            <a:ext cx="26574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2860" y="1049363"/>
            <a:ext cx="611698" cy="682439"/>
          </a:xfrm>
          <a:prstGeom prst="rect">
            <a:avLst/>
          </a:prstGeom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00" t="9825" r="21750" b="5916"/>
          <a:stretch/>
        </p:blipFill>
        <p:spPr bwMode="auto">
          <a:xfrm>
            <a:off x="3144558" y="1324342"/>
            <a:ext cx="6490232" cy="5215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1873320" y="352674"/>
            <a:ext cx="7567014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нтерактивные рабочие тетради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481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906" y="1336371"/>
            <a:ext cx="6751489" cy="5014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3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6" y="869646"/>
            <a:ext cx="26574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2860" y="1049363"/>
            <a:ext cx="611698" cy="68243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1873320" y="352674"/>
            <a:ext cx="7567014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нтерактивные рабочие тетради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712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6" y="1336371"/>
            <a:ext cx="6341345" cy="5054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3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6" y="869646"/>
            <a:ext cx="26574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2860" y="1049363"/>
            <a:ext cx="611698" cy="682439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1873320" y="352674"/>
            <a:ext cx="7567014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нтерактивные рабочие тетради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831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7323" y="1362654"/>
            <a:ext cx="7851974" cy="47298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3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6" y="869646"/>
            <a:ext cx="26574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2860" y="1049363"/>
            <a:ext cx="611698" cy="68243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1873320" y="352674"/>
            <a:ext cx="7567014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нтерактивные рабочие тетради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270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3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6" y="869646"/>
            <a:ext cx="26574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2860" y="1049363"/>
            <a:ext cx="611698" cy="68243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1873320" y="352674"/>
            <a:ext cx="7567014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нтерактивные рабочие тетради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939" y="1764171"/>
            <a:ext cx="4675841" cy="4501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8493" y="1764170"/>
            <a:ext cx="4656775" cy="4501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8043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3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6" y="869646"/>
            <a:ext cx="26574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2860" y="1049363"/>
            <a:ext cx="611698" cy="682439"/>
          </a:xfrm>
          <a:prstGeom prst="rect">
            <a:avLst/>
          </a:prstGeom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319" y="1842945"/>
            <a:ext cx="8869363" cy="4422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1873320" y="352674"/>
            <a:ext cx="7567014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нтерактивные рабочие тетради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53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Прямоугольник 89"/>
          <p:cNvSpPr/>
          <p:nvPr/>
        </p:nvSpPr>
        <p:spPr>
          <a:xfrm>
            <a:off x="-3051" y="1029098"/>
            <a:ext cx="12192001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25332" y="2093084"/>
            <a:ext cx="12166668" cy="388551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93085"/>
            <a:ext cx="11656541" cy="388551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381928" y="5711552"/>
            <a:ext cx="25015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Open Sans" pitchFamily="34" charset="0"/>
                <a:ea typeface="Open Sans" pitchFamily="34" charset="0"/>
                <a:cs typeface="Open Sans" pitchFamily="34" charset="0"/>
                <a:hlinkClick r:id="rId4"/>
              </a:rPr>
              <a:t>https://</a:t>
            </a:r>
            <a:r>
              <a:rPr lang="en-US" sz="1600" b="1" dirty="0">
                <a:latin typeface="Open Sans" pitchFamily="34" charset="0"/>
                <a:ea typeface="Open Sans" pitchFamily="34" charset="0"/>
                <a:cs typeface="Open Sans" pitchFamily="34" charset="0"/>
                <a:hlinkClick r:id="rId4"/>
              </a:rPr>
              <a:t>media.prosv.ru</a:t>
            </a:r>
            <a:r>
              <a:rPr lang="en-US" sz="1600" dirty="0">
                <a:latin typeface="Open Sans" pitchFamily="34" charset="0"/>
                <a:ea typeface="Open Sans" pitchFamily="34" charset="0"/>
                <a:cs typeface="Open Sans" pitchFamily="34" charset="0"/>
                <a:hlinkClick r:id="rId4"/>
              </a:rPr>
              <a:t>/</a:t>
            </a:r>
            <a:endParaRPr lang="ru-RU" sz="16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9109" y="5880829"/>
            <a:ext cx="611698" cy="682439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Цифровая</a:t>
            </a:r>
            <a:r>
              <a:rPr kumimoji="0" lang="ru-RU" b="1" u="none" strike="noStrike" kern="1200" cap="none" spc="0" normalizeH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образовательная среда</a:t>
            </a:r>
            <a:endParaRPr kumimoji="0" lang="ru-RU" b="1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895322" y="1083483"/>
            <a:ext cx="8452021" cy="361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ЕДИАТЕКА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ИНСТРУМЕНТЫ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ЛЯ ДИСТАНЦИОННОГО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БУЧЕНИЯ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0090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Прямоугольник 89"/>
          <p:cNvSpPr/>
          <p:nvPr/>
        </p:nvSpPr>
        <p:spPr>
          <a:xfrm>
            <a:off x="-3051" y="1029098"/>
            <a:ext cx="12192001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8010431" y="294966"/>
            <a:ext cx="25015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Open Sans" pitchFamily="34" charset="0"/>
                <a:ea typeface="Open Sans" pitchFamily="34" charset="0"/>
                <a:cs typeface="Open Sans" pitchFamily="34" charset="0"/>
                <a:hlinkClick r:id="rId3"/>
              </a:rPr>
              <a:t>https://</a:t>
            </a:r>
            <a:r>
              <a:rPr lang="en-US" sz="1600" b="1" dirty="0">
                <a:latin typeface="Open Sans" pitchFamily="34" charset="0"/>
                <a:ea typeface="Open Sans" pitchFamily="34" charset="0"/>
                <a:cs typeface="Open Sans" pitchFamily="34" charset="0"/>
                <a:hlinkClick r:id="rId3"/>
              </a:rPr>
              <a:t>media.prosv.ru</a:t>
            </a:r>
            <a:r>
              <a:rPr lang="en-US" sz="1600" dirty="0">
                <a:latin typeface="Open Sans" pitchFamily="34" charset="0"/>
                <a:ea typeface="Open Sans" pitchFamily="34" charset="0"/>
                <a:cs typeface="Open Sans" pitchFamily="34" charset="0"/>
                <a:hlinkClick r:id="rId3"/>
              </a:rPr>
              <a:t>/</a:t>
            </a:r>
            <a:endParaRPr lang="ru-RU" sz="16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494" y="499797"/>
            <a:ext cx="611698" cy="682439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Цифровая</a:t>
            </a:r>
            <a:r>
              <a:rPr kumimoji="0" lang="ru-RU" b="1" u="none" strike="noStrike" kern="1200" cap="none" spc="0" normalizeH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образовательная среда</a:t>
            </a:r>
            <a:endParaRPr kumimoji="0" lang="ru-RU" b="1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895322" y="1083483"/>
            <a:ext cx="8452021" cy="361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ЕДИАТЕКА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– ИНСТРУМЕНТЫ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ЛЯ ДИСТАНЦИОННОГО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БУЧЕНИЯ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246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8221" y="1553592"/>
            <a:ext cx="8664971" cy="4879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0171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Прямоугольник 71"/>
          <p:cNvSpPr/>
          <p:nvPr/>
        </p:nvSpPr>
        <p:spPr>
          <a:xfrm>
            <a:off x="1762431" y="1040349"/>
            <a:ext cx="10426518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временная школа на образовательной платформе LECTA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бразовательная платформа </a:t>
            </a:r>
            <a:r>
              <a:rPr lang="en-US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LECTA</a:t>
            </a:r>
            <a:endParaRPr lang="en-US" b="1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9" name="Прямая соединительная линия 6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8818" y="1044378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Rectangle 10"/>
          <p:cNvSpPr>
            <a:spLocks noChangeArrowheads="1"/>
          </p:cNvSpPr>
          <p:nvPr/>
        </p:nvSpPr>
        <p:spPr bwMode="auto">
          <a:xfrm>
            <a:off x="3879534" y="3242094"/>
            <a:ext cx="8149336" cy="34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Lato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ato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ato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ato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at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endParaRPr lang="en-US" alt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" name="Rectangle 6"/>
          <p:cNvSpPr>
            <a:spLocks noChangeArrowheads="1"/>
          </p:cNvSpPr>
          <p:nvPr/>
        </p:nvSpPr>
        <p:spPr bwMode="auto">
          <a:xfrm>
            <a:off x="1157245" y="3936996"/>
            <a:ext cx="10446328" cy="9205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 «Классная работа»</a:t>
            </a:r>
          </a:p>
          <a:p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</a:t>
            </a:r>
            <a:r>
              <a:rPr lang="ru-RU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ое планирование и презентации ко всем урокам</a:t>
            </a:r>
          </a:p>
        </p:txBody>
      </p:sp>
      <p:sp>
        <p:nvSpPr>
          <p:cNvPr id="51" name="Rectangle 12"/>
          <p:cNvSpPr>
            <a:spLocks noChangeArrowheads="1"/>
          </p:cNvSpPr>
          <p:nvPr/>
        </p:nvSpPr>
        <p:spPr bwMode="auto">
          <a:xfrm>
            <a:off x="1157245" y="2900464"/>
            <a:ext cx="10446328" cy="9205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ренажеры</a:t>
            </a:r>
          </a:p>
          <a:p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Закрепляйте новые знания с помощью тренировочных заданий</a:t>
            </a:r>
          </a:p>
        </p:txBody>
      </p:sp>
      <p:sp>
        <p:nvSpPr>
          <p:cNvPr id="70" name="Rectangle 15"/>
          <p:cNvSpPr>
            <a:spLocks noChangeArrowheads="1"/>
          </p:cNvSpPr>
          <p:nvPr/>
        </p:nvSpPr>
        <p:spPr bwMode="auto">
          <a:xfrm>
            <a:off x="1157245" y="5001125"/>
            <a:ext cx="10446328" cy="9205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</a:t>
            </a:r>
            <a:r>
              <a:rPr lang="ru-RU" sz="2400" dirty="0" smtClean="0"/>
              <a:t> </a:t>
            </a:r>
            <a:r>
              <a:rPr lang="ru-RU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Контрольная работа»</a:t>
            </a:r>
          </a:p>
          <a:p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Проверяйте усвоение материала с помощью интерактивных контрольных и самостоятельных работ</a:t>
            </a:r>
          </a:p>
        </p:txBody>
      </p:sp>
      <p:sp>
        <p:nvSpPr>
          <p:cNvPr id="73" name="Rectangle 18"/>
          <p:cNvSpPr>
            <a:spLocks noChangeArrowheads="1"/>
          </p:cNvSpPr>
          <p:nvPr/>
        </p:nvSpPr>
        <p:spPr bwMode="auto">
          <a:xfrm>
            <a:off x="1157245" y="1863932"/>
            <a:ext cx="10446328" cy="922436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лектронные формы учебников</a:t>
            </a:r>
          </a:p>
          <a:p>
            <a:r>
              <a:rPr lang="ru-RU" sz="16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Делайте уроки интерактивными: 1600 электронных учебников с </a:t>
            </a:r>
            <a:r>
              <a:rPr lang="ru-RU" sz="1600" dirty="0" err="1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диаобъектами</a:t>
            </a:r>
            <a:endParaRPr lang="ru-RU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137987" y="5966809"/>
            <a:ext cx="257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lecta.rosuchebnik.ru/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7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5" y="2900464"/>
            <a:ext cx="933450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30" y="4857499"/>
            <a:ext cx="8763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19" y="4016247"/>
            <a:ext cx="9048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42" y="1863932"/>
            <a:ext cx="828675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18" y="1079891"/>
            <a:ext cx="1717813" cy="71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04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Прямоугольник 71"/>
          <p:cNvSpPr/>
          <p:nvPr/>
        </p:nvSpPr>
        <p:spPr>
          <a:xfrm>
            <a:off x="1762431" y="1040349"/>
            <a:ext cx="10426518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b="1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нлайн сообщество для учителей</a:t>
            </a:r>
            <a:r>
              <a:rPr lang="en-US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-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Учитель.</a:t>
            </a:r>
            <a:r>
              <a:rPr lang="en-US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CLUB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9" name="Прямая соединительная линия 6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8818" y="1044378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Rectangle 10"/>
          <p:cNvSpPr>
            <a:spLocks noChangeArrowheads="1"/>
          </p:cNvSpPr>
          <p:nvPr/>
        </p:nvSpPr>
        <p:spPr bwMode="auto">
          <a:xfrm>
            <a:off x="3879534" y="3242094"/>
            <a:ext cx="8149336" cy="34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Lato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ato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ato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ato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at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endParaRPr lang="en-US" alt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2466" name="Picture 2" descr="https://uchitel.club/local/templates/uchitel.cifra-investitions2/img/logo.pn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18" y="1420955"/>
            <a:ext cx="1400175" cy="14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1866938" y="1199792"/>
            <a:ext cx="84520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АКТУАЛЬНЫЕ ОНЛАЙН-КОНФЕРЕНЦИИ. </a:t>
            </a:r>
          </a:p>
          <a:p>
            <a:r>
              <a:rPr lang="ru-RU" alt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ТРУДНИЧЕСТВО С ОБРАЗОВАТЕЛЬНЫМИ ОРГАНИЗАЦИЯМИ</a:t>
            </a:r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/>
          <a:srcRect l="26824" r="5168"/>
          <a:stretch/>
        </p:blipFill>
        <p:spPr>
          <a:xfrm>
            <a:off x="6577265" y="1928914"/>
            <a:ext cx="4990444" cy="394893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/>
          <a:srcRect b="9949"/>
          <a:stretch/>
        </p:blipFill>
        <p:spPr>
          <a:xfrm>
            <a:off x="172769" y="1965327"/>
            <a:ext cx="6249216" cy="4352447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422448" y="6123872"/>
            <a:ext cx="2560316" cy="3245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https://uchitel.club/filolconf/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843804" y="6215420"/>
            <a:ext cx="2595582" cy="3245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en-US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https://uchitel.club/pisaconf/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9392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Прямоугольник 68"/>
          <p:cNvSpPr/>
          <p:nvPr/>
        </p:nvSpPr>
        <p:spPr>
          <a:xfrm>
            <a:off x="-3051" y="1029098"/>
            <a:ext cx="12192001" cy="791464"/>
          </a:xfrm>
          <a:prstGeom prst="rect">
            <a:avLst/>
          </a:prstGeom>
          <a:solidFill>
            <a:srgbClr val="D8EBF4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2" y="2084174"/>
            <a:ext cx="12195051" cy="4312508"/>
          </a:xfrm>
          <a:prstGeom prst="rect">
            <a:avLst/>
          </a:prstGeom>
          <a:solidFill>
            <a:srgbClr val="D8EBF4"/>
          </a:solidFill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4628" y="2434048"/>
            <a:ext cx="1383956" cy="55832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0764" y="2412981"/>
            <a:ext cx="2459741" cy="600457"/>
          </a:xfrm>
          <a:prstGeom prst="rect">
            <a:avLst/>
          </a:prstGeom>
        </p:spPr>
      </p:pic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ГК «Просвещение» </a:t>
            </a: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–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артнёр для государства и бизнеса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895322" y="1085439"/>
            <a:ext cx="8452021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К «ПРОСВЕЩЕНИЕ»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– ПОСТАВЩИК КАЧЕСТВЕННОГО, ВЕРИФИЦИРОВАННОГО ЦИФРОВОГО КОНТЕНТА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068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одительский университет</a:t>
            </a:r>
            <a:r>
              <a:rPr lang="en-US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-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Учитель.</a:t>
            </a:r>
            <a:r>
              <a:rPr lang="en-US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CLUB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9" name="Прямая соединительная линия 6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Rectangle 10"/>
          <p:cNvSpPr>
            <a:spLocks noChangeArrowheads="1"/>
          </p:cNvSpPr>
          <p:nvPr/>
        </p:nvSpPr>
        <p:spPr bwMode="auto">
          <a:xfrm>
            <a:off x="3879534" y="3242094"/>
            <a:ext cx="8149336" cy="34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Lato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ato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ato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ato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at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endParaRPr lang="en-US" alt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272" y="922959"/>
            <a:ext cx="8192518" cy="5457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291707" y="6276175"/>
            <a:ext cx="33473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6"/>
              </a:rPr>
              <a:t>https://parents.university/dialog/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3910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852936"/>
            <a:ext cx="11819633" cy="336037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sp>
        <p:nvSpPr>
          <p:cNvPr id="48" name="Подзаголовок 2"/>
          <p:cNvSpPr txBox="1">
            <a:spLocks/>
          </p:cNvSpPr>
          <p:nvPr/>
        </p:nvSpPr>
        <p:spPr>
          <a:xfrm>
            <a:off x="1909444" y="4540131"/>
            <a:ext cx="4822282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12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Rectangle 1"/>
          <p:cNvSpPr txBox="1">
            <a:spLocks/>
          </p:cNvSpPr>
          <p:nvPr/>
        </p:nvSpPr>
        <p:spPr>
          <a:xfrm>
            <a:off x="7503722" y="4255379"/>
            <a:ext cx="4502093" cy="1849329"/>
          </a:xfrm>
          <a:prstGeom prst="rect">
            <a:avLst/>
          </a:prstGeom>
        </p:spPr>
        <p:txBody>
          <a:bodyPr lIns="113998" tIns="56999" rIns="113998" bIns="56999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contourClr>
                <a:schemeClr val="accent2">
                  <a:tint val="20000"/>
                </a:schemeClr>
              </a:contourClr>
            </a:sp3d>
          </a:bodyPr>
          <a:lstStyle/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дущий методист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дел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ической поддержки педагогов и образовательных организаций 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убкова Екатерина Дмитриевна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: (495) 789-30-40 (</a:t>
            </a:r>
            <a:r>
              <a:rPr lang="ru-RU" sz="1200" spc="-4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утр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42-03)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б. телефон 8(919) 839-05-78</a:t>
            </a:r>
          </a:p>
          <a:p>
            <a:pPr defTabSz="914377">
              <a:lnSpc>
                <a:spcPct val="120000"/>
              </a:lnSpc>
              <a:defRPr/>
            </a:pPr>
            <a:r>
              <a:rPr lang="en-US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-mail: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EZubkova@prosv.ru</a:t>
            </a:r>
            <a:endParaRPr lang="ru-RU" sz="1200" spc="-40" dirty="0">
              <a:solidFill>
                <a:schemeClr val="tx1">
                  <a:lumMod val="95000"/>
                  <a:lumOff val="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914377">
              <a:lnSpc>
                <a:spcPct val="120000"/>
              </a:lnSpc>
              <a:defRPr/>
            </a:pPr>
            <a:r>
              <a:rPr lang="en-US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</a:t>
            </a: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@</a:t>
            </a:r>
            <a:r>
              <a:rPr lang="en-US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z</a:t>
            </a:r>
            <a:r>
              <a:rPr lang="ru-RU" sz="1200" spc="-4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bkova</a:t>
            </a:r>
            <a:r>
              <a:rPr lang="en-US" sz="1200" spc="-40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d</a:t>
            </a:r>
            <a:endParaRPr lang="ru-RU" sz="1600" spc="62" dirty="0">
              <a:ln w="11430"/>
              <a:solidFill>
                <a:srgbClr val="002060"/>
              </a:solidFill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0" name="Picture 5" descr="Картинки по запросу значок инстаграм 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125" y="5633050"/>
            <a:ext cx="215511" cy="215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 descr="http://qrcoder.ru/code/?https%3A%2F%2Fshop.prosv.ru%2Fkatalog%23%2Forderby%3D6%26sFilters%3D21%2156334%3B13%212969%2C3000%2C67611%2C81288%3B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94" y="4228089"/>
            <a:ext cx="1595977" cy="1595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1570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51" y="825858"/>
            <a:ext cx="12262129" cy="4846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88" y="4691063"/>
            <a:ext cx="1809750" cy="504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3051" y="4989699"/>
            <a:ext cx="611698" cy="6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564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177" y="903145"/>
            <a:ext cx="10629900" cy="5362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0726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165" y="400898"/>
            <a:ext cx="10391775" cy="29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738" y="3645076"/>
            <a:ext cx="10629900" cy="297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6237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4" y="730505"/>
            <a:ext cx="12020550" cy="351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74394" y="4245230"/>
            <a:ext cx="1202055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2060"/>
                </a:solidFill>
              </a:rPr>
              <a:t>Короткий и понятный разбор самых важных тем. Включай в удобное время, останови на сложном моменте, пересмотри, чтобы разобраться. Легко фиксировать информацию и смотреть даже на смартфоне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</a:rPr>
              <a:t>Понятные объяснения даже самых сложных те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</a:rPr>
              <a:t>Нужная информация: самое важное, что действительно важно знать по теме урока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</a:rPr>
              <a:t>Примеры выполнения заданий любого уровня сложности.</a:t>
            </a:r>
          </a:p>
        </p:txBody>
      </p:sp>
    </p:spTree>
    <p:extLst>
      <p:ext uri="{BB962C8B-B14F-4D97-AF65-F5344CB8AC3E}">
        <p14:creationId xmlns:p14="http://schemas.microsoft.com/office/powerpoint/2010/main" val="295427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223" y="767628"/>
            <a:ext cx="8500118" cy="5498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0505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ГК «Просвещение» </a:t>
            </a: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–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артнёр для государства и бизнеса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24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515" y="759001"/>
            <a:ext cx="8162925" cy="5857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467" name="Picture 3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515" y="782950"/>
            <a:ext cx="26574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288274" y="1016312"/>
            <a:ext cx="611698" cy="6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133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1873320" y="352674"/>
            <a:ext cx="7567014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нтерактивные рабочие тетради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6" y="1336372"/>
            <a:ext cx="6585369" cy="52491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706" y="869646"/>
            <a:ext cx="265747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2860" y="1049363"/>
            <a:ext cx="611698" cy="6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21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25</TotalTime>
  <Words>612</Words>
  <Application>Microsoft Office PowerPoint</Application>
  <PresentationFormat>Произвольный</PresentationFormat>
  <Paragraphs>96</Paragraphs>
  <Slides>21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ачева Екатерина Андреевна</dc:creator>
  <cp:lastModifiedBy>Зубкова Екатерина Дмитриевна</cp:lastModifiedBy>
  <cp:revision>447</cp:revision>
  <dcterms:created xsi:type="dcterms:W3CDTF">2020-02-25T09:30:21Z</dcterms:created>
  <dcterms:modified xsi:type="dcterms:W3CDTF">2020-11-02T11:38:23Z</dcterms:modified>
</cp:coreProperties>
</file>